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4"/>
  </p:notesMasterIdLst>
  <p:handoutMasterIdLst>
    <p:handoutMasterId r:id="rId55"/>
  </p:handout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409" r:id="rId18"/>
    <p:sldId id="324" r:id="rId19"/>
    <p:sldId id="284" r:id="rId20"/>
    <p:sldId id="285" r:id="rId21"/>
    <p:sldId id="286" r:id="rId22"/>
    <p:sldId id="294" r:id="rId23"/>
    <p:sldId id="319" r:id="rId24"/>
    <p:sldId id="321" r:id="rId25"/>
    <p:sldId id="396" r:id="rId26"/>
    <p:sldId id="296" r:id="rId27"/>
    <p:sldId id="302" r:id="rId28"/>
    <p:sldId id="325" r:id="rId29"/>
    <p:sldId id="405" r:id="rId30"/>
    <p:sldId id="413" r:id="rId31"/>
    <p:sldId id="414" r:id="rId32"/>
    <p:sldId id="328" r:id="rId33"/>
    <p:sldId id="329" r:id="rId34"/>
    <p:sldId id="330" r:id="rId35"/>
    <p:sldId id="326" r:id="rId36"/>
    <p:sldId id="332" r:id="rId37"/>
    <p:sldId id="323" r:id="rId38"/>
    <p:sldId id="407" r:id="rId39"/>
    <p:sldId id="335" r:id="rId40"/>
    <p:sldId id="337" r:id="rId41"/>
    <p:sldId id="342" r:id="rId42"/>
    <p:sldId id="338" r:id="rId43"/>
    <p:sldId id="410" r:id="rId44"/>
    <p:sldId id="411" r:id="rId45"/>
    <p:sldId id="340" r:id="rId46"/>
    <p:sldId id="336" r:id="rId47"/>
    <p:sldId id="408" r:id="rId48"/>
    <p:sldId id="344" r:id="rId49"/>
    <p:sldId id="345" r:id="rId50"/>
    <p:sldId id="346" r:id="rId51"/>
    <p:sldId id="350" r:id="rId52"/>
    <p:sldId id="348" r:id="rId5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7" autoAdjust="0"/>
    <p:restoredTop sz="85440" autoAdjust="0"/>
  </p:normalViewPr>
  <p:slideViewPr>
    <p:cSldViewPr snapToGrid="0">
      <p:cViewPr varScale="1">
        <p:scale>
          <a:sx n="91" d="100"/>
          <a:sy n="91" d="100"/>
        </p:scale>
        <p:origin x="2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4/1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4/1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grab a time series &amp; plot 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38842B-3EDC-334A-B458-FC85B77176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701" y="1583717"/>
            <a:ext cx="6358597" cy="4274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96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visting</a:t>
            </a:r>
            <a:r>
              <a:rPr lang="en-US" dirty="0"/>
              <a:t>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ften more accurate than mean with strong tren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468322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F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20</TotalTime>
  <Words>2478</Words>
  <Application>Microsoft Macintosh PowerPoint</Application>
  <PresentationFormat>On-screen Show (4:3)</PresentationFormat>
  <Paragraphs>561</Paragraphs>
  <Slides>5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0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B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C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D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E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F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67</cp:revision>
  <dcterms:created xsi:type="dcterms:W3CDTF">2018-05-11T14:06:45Z</dcterms:created>
  <dcterms:modified xsi:type="dcterms:W3CDTF">2021-04-12T23:10:20Z</dcterms:modified>
</cp:coreProperties>
</file>